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39"/>
  </p:notesMasterIdLst>
  <p:handoutMasterIdLst>
    <p:handoutMasterId r:id="rId40"/>
  </p:handoutMasterIdLst>
  <p:sldIdLst>
    <p:sldId id="2147477909" r:id="rId5"/>
    <p:sldId id="2147483489" r:id="rId6"/>
    <p:sldId id="2147483445" r:id="rId7"/>
    <p:sldId id="2147483572" r:id="rId8"/>
    <p:sldId id="2147483573" r:id="rId9"/>
    <p:sldId id="2147483574" r:id="rId10"/>
    <p:sldId id="2147483575" r:id="rId11"/>
    <p:sldId id="2147483576" r:id="rId12"/>
    <p:sldId id="2147483577" r:id="rId13"/>
    <p:sldId id="2147483578" r:id="rId14"/>
    <p:sldId id="2147483596" r:id="rId15"/>
    <p:sldId id="2147483597" r:id="rId16"/>
    <p:sldId id="2147483598" r:id="rId17"/>
    <p:sldId id="2147483599" r:id="rId18"/>
    <p:sldId id="2147483600" r:id="rId19"/>
    <p:sldId id="2147483613" r:id="rId20"/>
    <p:sldId id="2147483614" r:id="rId21"/>
    <p:sldId id="2147483580" r:id="rId22"/>
    <p:sldId id="2147483581" r:id="rId23"/>
    <p:sldId id="2147483582" r:id="rId24"/>
    <p:sldId id="2147483583" r:id="rId25"/>
    <p:sldId id="2147483584" r:id="rId26"/>
    <p:sldId id="2147483585" r:id="rId27"/>
    <p:sldId id="2147483586" r:id="rId28"/>
    <p:sldId id="2147483587" r:id="rId29"/>
    <p:sldId id="2147483588" r:id="rId30"/>
    <p:sldId id="2147483589" r:id="rId31"/>
    <p:sldId id="2147483590" r:id="rId32"/>
    <p:sldId id="2147483591" r:id="rId33"/>
    <p:sldId id="2147483592" r:id="rId34"/>
    <p:sldId id="2147483593" r:id="rId35"/>
    <p:sldId id="2147483594" r:id="rId36"/>
    <p:sldId id="2147483595" r:id="rId37"/>
    <p:sldId id="2147483567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445"/>
            <p14:sldId id="2147483572"/>
            <p14:sldId id="2147483573"/>
            <p14:sldId id="2147483574"/>
            <p14:sldId id="2147483575"/>
            <p14:sldId id="2147483576"/>
            <p14:sldId id="2147483577"/>
            <p14:sldId id="2147483578"/>
            <p14:sldId id="2147483596"/>
            <p14:sldId id="2147483597"/>
            <p14:sldId id="2147483598"/>
            <p14:sldId id="2147483599"/>
            <p14:sldId id="2147483600"/>
            <p14:sldId id="2147483613"/>
            <p14:sldId id="2147483614"/>
            <p14:sldId id="2147483580"/>
            <p14:sldId id="2147483581"/>
            <p14:sldId id="2147483582"/>
            <p14:sldId id="2147483583"/>
            <p14:sldId id="2147483584"/>
            <p14:sldId id="2147483585"/>
            <p14:sldId id="2147483586"/>
            <p14:sldId id="2147483587"/>
            <p14:sldId id="2147483588"/>
            <p14:sldId id="2147483589"/>
            <p14:sldId id="2147483590"/>
            <p14:sldId id="2147483591"/>
            <p14:sldId id="2147483592"/>
            <p14:sldId id="2147483593"/>
            <p14:sldId id="2147483594"/>
            <p14:sldId id="2147483595"/>
            <p14:sldId id="21474835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DF9"/>
    <a:srgbClr val="46BDAA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ECC71B-D4D4-9446-965F-8865AE44C7B5}" v="148" dt="2026-01-22T07:18:41.151"/>
    <p1510:client id="{BADDC745-160E-9B40-940B-BFD7DC2EC43E}" v="1" dt="2026-01-22T07:26:22.0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45"/>
    <p:restoredTop sz="95342" autoAdjust="0"/>
  </p:normalViewPr>
  <p:slideViewPr>
    <p:cSldViewPr snapToGrid="0">
      <p:cViewPr varScale="1">
        <p:scale>
          <a:sx n="107" d="100"/>
          <a:sy n="107" d="100"/>
        </p:scale>
        <p:origin x="1504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delSld modSld modSection">
      <pc:chgData name="Jan Cordtz" userId="b5e592fb-fc8b-4323-a97d-691438b2e2da" providerId="ADAL" clId="{4E22EDF5-2883-5D57-B9C7-04E66950367B}" dt="2026-01-22T07:26:42.630" v="300" actId="207"/>
      <pc:docMkLst>
        <pc:docMk/>
      </pc:docMkLst>
      <pc:sldChg chg="modSp mod">
        <pc:chgData name="Jan Cordtz" userId="b5e592fb-fc8b-4323-a97d-691438b2e2da" providerId="ADAL" clId="{4E22EDF5-2883-5D57-B9C7-04E66950367B}" dt="2026-01-22T07:24:46.222" v="31" actId="108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22T07:24:46.222" v="31" actId="108"/>
          <ac:spMkLst>
            <pc:docMk/>
            <pc:sldMk cId="3886619284" sldId="2147477909"/>
            <ac:spMk id="37" creationId="{40CB8A5C-7978-D6DF-6BCB-6AA6077897C3}"/>
          </ac:spMkLst>
        </pc:spChg>
      </pc:sldChg>
      <pc:sldChg chg="modSp mod">
        <pc:chgData name="Jan Cordtz" userId="b5e592fb-fc8b-4323-a97d-691438b2e2da" providerId="ADAL" clId="{4E22EDF5-2883-5D57-B9C7-04E66950367B}" dt="2026-01-22T07:26:42.630" v="300" actId="207"/>
        <pc:sldMkLst>
          <pc:docMk/>
          <pc:sldMk cId="793374601" sldId="2147483445"/>
        </pc:sldMkLst>
        <pc:spChg chg="mod">
          <ac:chgData name="Jan Cordtz" userId="b5e592fb-fc8b-4323-a97d-691438b2e2da" providerId="ADAL" clId="{4E22EDF5-2883-5D57-B9C7-04E66950367B}" dt="2026-01-22T07:25:12.289" v="45" actId="20577"/>
          <ac:spMkLst>
            <pc:docMk/>
            <pc:sldMk cId="793374601" sldId="2147483445"/>
            <ac:spMk id="20" creationId="{99DC9B95-4F77-A7F4-944C-F16E09840C05}"/>
          </ac:spMkLst>
        </pc:spChg>
        <pc:spChg chg="mod">
          <ac:chgData name="Jan Cordtz" userId="b5e592fb-fc8b-4323-a97d-691438b2e2da" providerId="ADAL" clId="{4E22EDF5-2883-5D57-B9C7-04E66950367B}" dt="2026-01-22T07:26:42.630" v="300" actId="207"/>
          <ac:spMkLst>
            <pc:docMk/>
            <pc:sldMk cId="793374601" sldId="2147483445"/>
            <ac:spMk id="24" creationId="{A4F5D922-AE45-FA32-F6EB-C32BB99FED31}"/>
          </ac:spMkLst>
        </pc:spChg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231082068" sldId="2147483490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532065344" sldId="2147483522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029413402" sldId="2147483523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027418790" sldId="2147483525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098800254" sldId="2147483526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302183867" sldId="2147483528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576385204" sldId="2147483529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074930023" sldId="2147483530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132583929" sldId="2147483531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102901999" sldId="2147483532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162534437" sldId="2147483533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018333892" sldId="2147483534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4122561559" sldId="2147483535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486534540" sldId="2147483536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030469155" sldId="2147483537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818176110" sldId="2147483538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209046751" sldId="2147483540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4057401030" sldId="2147483542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812067806" sldId="2147483544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183447959" sldId="2147483545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822281442" sldId="2147483546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411037855" sldId="2147483547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754188695" sldId="2147483548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4097596817" sldId="2147483549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601767197" sldId="2147483550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39308831" sldId="2147483551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4213806525" sldId="2147483552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34661414" sldId="2147483553"/>
        </pc:sldMkLst>
      </pc:sldChg>
      <pc:sldChg chg="del">
        <pc:chgData name="Jan Cordtz" userId="b5e592fb-fc8b-4323-a97d-691438b2e2da" providerId="ADAL" clId="{4E22EDF5-2883-5D57-B9C7-04E66950367B}" dt="2026-01-22T07:25:49.013" v="50" actId="2696"/>
        <pc:sldMkLst>
          <pc:docMk/>
          <pc:sldMk cId="2044096338" sldId="2147483554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278492971" sldId="2147483555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230791312" sldId="2147483556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184912221" sldId="2147483558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959257428" sldId="2147483559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764078377" sldId="2147483560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863599148" sldId="2147483561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187545290" sldId="2147483562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4010059235" sldId="2147483563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287738189" sldId="2147483564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043116812" sldId="2147483565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032236103" sldId="2147483566"/>
        </pc:sldMkLst>
      </pc:sldChg>
      <pc:sldChg chg="del">
        <pc:chgData name="Jan Cordtz" userId="b5e592fb-fc8b-4323-a97d-691438b2e2da" providerId="ADAL" clId="{4E22EDF5-2883-5D57-B9C7-04E66950367B}" dt="2026-01-22T07:25:52.193" v="54" actId="2696"/>
        <pc:sldMkLst>
          <pc:docMk/>
          <pc:sldMk cId="837331255" sldId="2147483569"/>
        </pc:sldMkLst>
      </pc:sldChg>
      <pc:sldChg chg="del">
        <pc:chgData name="Jan Cordtz" userId="b5e592fb-fc8b-4323-a97d-691438b2e2da" providerId="ADAL" clId="{4E22EDF5-2883-5D57-B9C7-04E66950367B}" dt="2026-01-22T07:25:52.980" v="55" actId="2696"/>
        <pc:sldMkLst>
          <pc:docMk/>
          <pc:sldMk cId="2645551473" sldId="2147483570"/>
        </pc:sldMkLst>
      </pc:sldChg>
      <pc:sldChg chg="del">
        <pc:chgData name="Jan Cordtz" userId="b5e592fb-fc8b-4323-a97d-691438b2e2da" providerId="ADAL" clId="{4E22EDF5-2883-5D57-B9C7-04E66950367B}" dt="2026-01-22T07:25:50.564" v="52" actId="2696"/>
        <pc:sldMkLst>
          <pc:docMk/>
          <pc:sldMk cId="1236399726" sldId="2147483571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009978293" sldId="2147483601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334764523" sldId="2147483602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1480298092" sldId="2147483603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468688813" sldId="2147483604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60744495" sldId="2147483606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2357562902" sldId="2147483607"/>
        </pc:sldMkLst>
      </pc:sldChg>
      <pc:sldChg chg="del">
        <pc:chgData name="Jan Cordtz" userId="b5e592fb-fc8b-4323-a97d-691438b2e2da" providerId="ADAL" clId="{4E22EDF5-2883-5D57-B9C7-04E66950367B}" dt="2026-01-22T07:25:45.330" v="48" actId="2696"/>
        <pc:sldMkLst>
          <pc:docMk/>
          <pc:sldMk cId="3679148740" sldId="2147483608"/>
        </pc:sldMkLst>
      </pc:sldChg>
      <pc:sldChg chg="del">
        <pc:chgData name="Jan Cordtz" userId="b5e592fb-fc8b-4323-a97d-691438b2e2da" providerId="ADAL" clId="{4E22EDF5-2883-5D57-B9C7-04E66950367B}" dt="2026-01-22T07:25:48.405" v="49" actId="2696"/>
        <pc:sldMkLst>
          <pc:docMk/>
          <pc:sldMk cId="2054395914" sldId="2147483609"/>
        </pc:sldMkLst>
      </pc:sldChg>
      <pc:sldChg chg="del">
        <pc:chgData name="Jan Cordtz" userId="b5e592fb-fc8b-4323-a97d-691438b2e2da" providerId="ADAL" clId="{4E22EDF5-2883-5D57-B9C7-04E66950367B}" dt="2026-01-22T07:25:49.644" v="51" actId="2696"/>
        <pc:sldMkLst>
          <pc:docMk/>
          <pc:sldMk cId="638028225" sldId="2147483610"/>
        </pc:sldMkLst>
      </pc:sldChg>
      <pc:sldChg chg="del">
        <pc:chgData name="Jan Cordtz" userId="b5e592fb-fc8b-4323-a97d-691438b2e2da" providerId="ADAL" clId="{4E22EDF5-2883-5D57-B9C7-04E66950367B}" dt="2026-01-22T07:25:51.672" v="53" actId="2696"/>
        <pc:sldMkLst>
          <pc:docMk/>
          <pc:sldMk cId="1626382936" sldId="2147483611"/>
        </pc:sldMkLst>
      </pc:sldChg>
      <pc:sldChg chg="del">
        <pc:chgData name="Jan Cordtz" userId="b5e592fb-fc8b-4323-a97d-691438b2e2da" providerId="ADAL" clId="{4E22EDF5-2883-5D57-B9C7-04E66950367B}" dt="2026-01-22T07:25:56.116" v="56" actId="2696"/>
        <pc:sldMkLst>
          <pc:docMk/>
          <pc:sldMk cId="3067258453" sldId="214748361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22/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22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2/26 8:24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286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 dirty="0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 dirty="0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 dirty="0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 dirty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711794"/>
            <a:ext cx="4446587" cy="2427943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 –</a:t>
            </a:r>
            <a:br>
              <a:rPr lang="en-GB" dirty="0"/>
            </a:br>
            <a:r>
              <a:rPr lang="en-GB" b="1" i="1" dirty="0"/>
              <a:t>4 - Data Quality</a:t>
            </a:r>
            <a:endParaRPr lang="en-US" b="1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Jan Cordtz, Snr. Cloud Solution Architect</a:t>
            </a:r>
          </a:p>
          <a:p>
            <a:r>
              <a:rPr lang="en-US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</a:rPr>
              <a:t>If you think compliance is complicated,</a:t>
            </a:r>
            <a:br>
              <a:rPr lang="en-GB" b="1">
                <a:solidFill>
                  <a:schemeClr val="bg1"/>
                </a:solidFill>
              </a:rPr>
            </a:br>
            <a:r>
              <a:rPr lang="en-GB" b="1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Note – in this document the name </a:t>
            </a:r>
            <a:r>
              <a:rPr lang="en-US" b="1"/>
              <a:t>Purview</a:t>
            </a:r>
            <a:r>
              <a:rPr lang="en-US"/>
              <a:t> – if not otherwise</a:t>
            </a:r>
          </a:p>
          <a:p>
            <a:r>
              <a:rPr lang="en-US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086BC31-C651-2044-084E-5DF0F7902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909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E4B7D80-F00B-A204-9FE6-21B6839E1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1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104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8AC911B-4297-01FC-A822-73A968EDB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1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34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447FA9-C965-92DB-C9AB-AF24C1370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328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C4E943B-250E-F4ED-9B95-16C7CB82EE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847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70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46CEE9-50BF-A0DB-D5F3-6B666247A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040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A23602-B0CB-F6AF-746B-5542F7451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1120C71-4390-A67C-AB04-BB57BA789C81}"/>
              </a:ext>
            </a:extLst>
          </p:cNvPr>
          <p:cNvSpPr txBox="1"/>
          <p:nvPr/>
        </p:nvSpPr>
        <p:spPr>
          <a:xfrm>
            <a:off x="6575323" y="2924035"/>
            <a:ext cx="289053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Health management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Data Quality</a:t>
            </a:r>
          </a:p>
        </p:txBody>
      </p:sp>
    </p:spTree>
    <p:extLst>
      <p:ext uri="{BB962C8B-B14F-4D97-AF65-F5344CB8AC3E}">
        <p14:creationId xmlns:p14="http://schemas.microsoft.com/office/powerpoint/2010/main" val="2063170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8BB72-183B-9F7E-739D-A959E9D8F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A1FDB72-8459-9B75-7F3E-44D08110E4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37260"/>
            <a:ext cx="7772400" cy="37834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DDF6BE7-0D1D-D70D-771E-F33DA0F78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7362" y="760287"/>
            <a:ext cx="1656695" cy="184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9903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F61A311-9AB3-7AD6-0EA3-9898B393A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2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564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B566E76-D6A7-B4B2-8D15-BC318E13E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90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>
                <a:solidFill>
                  <a:schemeClr val="bg1"/>
                </a:solidFill>
              </a:rPr>
              <a:t>Get </a:t>
            </a:r>
            <a:r>
              <a:rPr lang="en-GB" sz="4000" b="1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FB18F9F-0330-4302-7CD0-EF938A8A8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4678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DB86F2-0A1A-21CD-3A6F-D616DB3B5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412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9602E59-2760-B40C-3B82-7EF6F64C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7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03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DFA5A0-5103-13F6-8423-7A3ACC490E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22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7239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1CA9D2F-CD07-9412-0448-D2C8347DDC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436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6266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50BDB5D-865E-B197-1D63-D17E9B8535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623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FF5B9F9-1385-34AF-0733-8435A52E8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433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0DB23E2-2883-8E2B-275E-3CAE9E8801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51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84AF30-0889-0168-F17F-1935FFA1C0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1927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BB779E-5940-BAFD-D618-D42B173A55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41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Connect </a:t>
            </a:r>
            <a:r>
              <a:rPr lang="en-US" b="1" i="1" u="sng">
                <a:solidFill>
                  <a:srgbClr val="FFFF00"/>
                </a:solidFill>
              </a:rPr>
              <a:t>assets</a:t>
            </a:r>
            <a:r>
              <a:rPr lang="en-US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209965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 dirty="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OK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rgbClr val="FFFDF9"/>
                </a:solidFill>
              </a:rPr>
              <a:t>Critial</a:t>
            </a:r>
            <a:r>
              <a:rPr lang="en-US" sz="1200" dirty="0">
                <a:solidFill>
                  <a:srgbClr val="FFFDF9"/>
                </a:solidFill>
              </a:rPr>
              <a:t> Data el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Data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Data Qu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</a:t>
            </a:r>
            <a:r>
              <a:rPr lang="en-US" b="1" i="1" u="sng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368C9903-8D83-3C06-59F0-F4C2C8015D53}"/>
              </a:ext>
            </a:extLst>
          </p:cNvPr>
          <p:cNvSpPr/>
          <p:nvPr/>
        </p:nvSpPr>
        <p:spPr>
          <a:xfrm>
            <a:off x="9916358" y="4924554"/>
            <a:ext cx="1933903" cy="1114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dvanced</a:t>
            </a:r>
          </a:p>
          <a:p>
            <a:pPr algn="ctr"/>
            <a:r>
              <a:rPr lang="en-US" sz="1200"/>
              <a:t>Api’s</a:t>
            </a:r>
          </a:p>
          <a:p>
            <a:pPr algn="ctr"/>
            <a:r>
              <a:rPr lang="en-US" sz="1200"/>
              <a:t>Workflows</a:t>
            </a:r>
          </a:p>
          <a:p>
            <a:pPr algn="ctr"/>
            <a:r>
              <a:rPr lang="en-US" sz="1200"/>
              <a:t>Enforcement of right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4F5D922-AE45-FA32-F6EB-C32BB99FED31}"/>
              </a:ext>
            </a:extLst>
          </p:cNvPr>
          <p:cNvSpPr/>
          <p:nvPr/>
        </p:nvSpPr>
        <p:spPr>
          <a:xfrm>
            <a:off x="5097134" y="6038650"/>
            <a:ext cx="4552264" cy="246594"/>
          </a:xfrm>
          <a:prstGeom prst="roundRect">
            <a:avLst>
              <a:gd name="adj" fmla="val 5971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  <a:alpha val="3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3746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7B0962C-CD51-8EE2-7CA7-44DC021B8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953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780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46F04E1-E5C4-FECC-AF09-A644AE08A4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059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599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B92BC-E90A-06AF-4DEF-A327D5BC99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1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6217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2E6E3F2-1BB2-9051-1B57-64B310CF17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3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6877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D248A6-F074-6157-1C8A-B23B2AF51A72}"/>
              </a:ext>
            </a:extLst>
          </p:cNvPr>
          <p:cNvSpPr txBox="1"/>
          <p:nvPr/>
        </p:nvSpPr>
        <p:spPr>
          <a:xfrm>
            <a:off x="5774076" y="3174715"/>
            <a:ext cx="9065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ies</a:t>
            </a:r>
          </a:p>
        </p:txBody>
      </p:sp>
    </p:spTree>
    <p:extLst>
      <p:ext uri="{BB962C8B-B14F-4D97-AF65-F5344CB8AC3E}">
        <p14:creationId xmlns:p14="http://schemas.microsoft.com/office/powerpoint/2010/main" val="2875761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031D4B1-103A-C9CF-F739-9F6A45930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717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BD860E-FCE3-577C-D2B2-240908C384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9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783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D8041B-C63F-2401-8F9A-C9FC0CC31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5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97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77662D8-5016-F37E-435B-A49540B42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6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9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23A6DB-0BD7-5CBD-70EC-FDA7D24F5D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512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B1AD0C-6BC0-0D2E-F5A3-B3BC8E3C8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6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Props1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AA2F610-1193-44B2-A4F0-A119C8973799}">
  <ds:schemaRefs>
    <ds:schemaRef ds:uri="http://schemas.microsoft.com/office/2006/documentManagement/types"/>
    <ds:schemaRef ds:uri="http://www.w3.org/XML/1998/namespace"/>
    <ds:schemaRef ds:uri="230e9df3-be65-4c73-a93b-d1236ebd677e"/>
    <ds:schemaRef ds:uri="http://schemas.microsoft.com/office/2006/metadata/properties"/>
    <ds:schemaRef ds:uri="http://purl.org/dc/elements/1.1/"/>
    <ds:schemaRef ds:uri="http://schemas.microsoft.com/sharepoint/v3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b1c3d6fc-5689-40cc-899d-3b916b4ff5bf"/>
    <ds:schemaRef ds:uri="07c5dfa0-33a3-47dd-bfb7-87fb96739115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787</TotalTime>
  <Words>176</Words>
  <Application>Microsoft Macintosh PowerPoint</Application>
  <PresentationFormat>Widescreen</PresentationFormat>
  <Paragraphs>47</Paragraphs>
  <Slides>3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 – 4 - Data Qua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11</cp:revision>
  <cp:lastPrinted>2025-06-18T05:57:52Z</cp:lastPrinted>
  <dcterms:created xsi:type="dcterms:W3CDTF">2024-01-23T16:36:38Z</dcterms:created>
  <dcterms:modified xsi:type="dcterms:W3CDTF">2026-01-22T07:2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